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media/image4.bin" ContentType="image/png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55" r:id="rId4"/>
    <p:sldMasterId id="2147483788" r:id="rId5"/>
  </p:sldMasterIdLst>
  <p:notesMasterIdLst>
    <p:notesMasterId r:id="rId15"/>
  </p:notesMasterIdLst>
  <p:handoutMasterIdLst>
    <p:handoutMasterId r:id="rId16"/>
  </p:handoutMasterIdLst>
  <p:sldIdLst>
    <p:sldId id="845" r:id="rId6"/>
    <p:sldId id="881" r:id="rId7"/>
    <p:sldId id="889" r:id="rId8"/>
    <p:sldId id="883" r:id="rId9"/>
    <p:sldId id="884" r:id="rId10"/>
    <p:sldId id="885" r:id="rId11"/>
    <p:sldId id="886" r:id="rId12"/>
    <p:sldId id="887" r:id="rId13"/>
    <p:sldId id="888" r:id="rId14"/>
  </p:sldIdLst>
  <p:sldSz cx="9144000" cy="5143500" type="screen16x9"/>
  <p:notesSz cx="7010400" cy="9296400"/>
  <p:custDataLst>
    <p:tags r:id="rId17"/>
  </p:custDataLst>
  <p:defaultTextStyle>
    <a:defPPr>
      <a:defRPr lang="en-US"/>
    </a:defPPr>
    <a:lvl1pPr algn="ctr" rtl="0" eaLnBrk="0" fontAlgn="base" hangingPunct="0">
      <a:lnSpc>
        <a:spcPct val="85000"/>
      </a:lnSpc>
      <a:spcBef>
        <a:spcPct val="5000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ctr" rtl="0" eaLnBrk="0" fontAlgn="base" hangingPunct="0">
      <a:lnSpc>
        <a:spcPct val="85000"/>
      </a:lnSpc>
      <a:spcBef>
        <a:spcPct val="5000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ctr" rtl="0" eaLnBrk="0" fontAlgn="base" hangingPunct="0">
      <a:lnSpc>
        <a:spcPct val="85000"/>
      </a:lnSpc>
      <a:spcBef>
        <a:spcPct val="5000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ctr" rtl="0" eaLnBrk="0" fontAlgn="base" hangingPunct="0">
      <a:lnSpc>
        <a:spcPct val="85000"/>
      </a:lnSpc>
      <a:spcBef>
        <a:spcPct val="5000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ctr" rtl="0" eaLnBrk="0" fontAlgn="base" hangingPunct="0">
      <a:lnSpc>
        <a:spcPct val="85000"/>
      </a:lnSpc>
      <a:spcBef>
        <a:spcPct val="5000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22">
          <p15:clr>
            <a:srgbClr val="A4A3A4"/>
          </p15:clr>
        </p15:guide>
        <p15:guide id="2" orient="horz" pos="548">
          <p15:clr>
            <a:srgbClr val="A4A3A4"/>
          </p15:clr>
        </p15:guide>
        <p15:guide id="3" pos="25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D5D5"/>
    <a:srgbClr val="CF7400"/>
    <a:srgbClr val="CD7400"/>
    <a:srgbClr val="B47400"/>
    <a:srgbClr val="FFAA11"/>
    <a:srgbClr val="E6E6E6"/>
    <a:srgbClr val="E2E2E2"/>
    <a:srgbClr val="EAEAEA"/>
    <a:srgbClr val="667FB6"/>
    <a:srgbClr val="F0F4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12" autoAdjust="0"/>
    <p:restoredTop sz="95874" autoAdjust="0"/>
  </p:normalViewPr>
  <p:slideViewPr>
    <p:cSldViewPr snapToGrid="0" snapToObjects="1">
      <p:cViewPr varScale="1">
        <p:scale>
          <a:sx n="145" d="100"/>
          <a:sy n="145" d="100"/>
        </p:scale>
        <p:origin x="636" y="108"/>
      </p:cViewPr>
      <p:guideLst>
        <p:guide orient="horz" pos="622"/>
        <p:guide orient="horz" pos="548"/>
        <p:guide pos="25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3162" y="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8D50-4852-A6C1-48EA88848B13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90000">
                    <a:schemeClr val="accent1">
                      <a:lumMod val="30000"/>
                      <a:lumOff val="70000"/>
                    </a:schemeClr>
                  </a:gs>
                </a:gsLst>
                <a:lin ang="8400000" scaled="0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D50-4852-A6C1-48EA88848B13}"/>
              </c:ext>
            </c:extLst>
          </c:dPt>
          <c:cat>
            <c:strRef>
              <c:f>Sheet1!$A$2:$A$3</c:f>
              <c:strCache>
                <c:ptCount val="1"/>
                <c:pt idx="0">
                  <c:v>compani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0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50-4852-A6C1-48EA88848B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07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8D50-4852-A6C1-48EA88848B13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chemeClr val="accent2">
                      <a:lumMod val="10000"/>
                      <a:lumOff val="90000"/>
                    </a:schemeClr>
                  </a:gs>
                  <a:gs pos="100000">
                    <a:schemeClr val="accent4">
                      <a:lumMod val="8000"/>
                      <a:lumOff val="92000"/>
                    </a:schemeClr>
                  </a:gs>
                </a:gsLst>
                <a:lin ang="19200000" scaled="0"/>
              </a:gra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D50-4852-A6C1-48EA88848B13}"/>
              </c:ext>
            </c:extLst>
          </c:dPt>
          <c:cat>
            <c:strRef>
              <c:f>Sheet1!$A$2:$A$3</c:f>
              <c:strCache>
                <c:ptCount val="1"/>
                <c:pt idx="0">
                  <c:v>compani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4</c:v>
                </c:pt>
                <c:pt idx="1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50-4852-A6C1-48EA88848B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73"/>
        <c:holeSize val="5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533" tIns="46766" rIns="93533" bIns="4676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533" tIns="46766" rIns="93533" bIns="46766" rtlCol="0"/>
          <a:lstStyle>
            <a:lvl1pPr algn="r">
              <a:defRPr sz="1200"/>
            </a:lvl1pPr>
          </a:lstStyle>
          <a:p>
            <a:fld id="{1EFEF8FB-3553-4943-8276-A1438D453DA1}" type="datetimeFigureOut">
              <a:rPr lang="en-US" smtClean="0"/>
              <a:t>10/2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533" tIns="46766" rIns="93533" bIns="4676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533" tIns="46766" rIns="93533" bIns="46766" rtlCol="0" anchor="b"/>
          <a:lstStyle>
            <a:lvl1pPr algn="r">
              <a:defRPr sz="1200"/>
            </a:lvl1pPr>
          </a:lstStyle>
          <a:p>
            <a:fld id="{1B966EFD-F014-4181-864C-4EEBDC5A7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155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33" tIns="46766" rIns="93533" bIns="46766" numCol="1" anchor="t" anchorCtr="0" compatLnSpc="1">
            <a:prstTxWarp prst="textNoShape">
              <a:avLst/>
            </a:prstTxWarp>
          </a:bodyPr>
          <a:lstStyle>
            <a:lvl1pPr algn="l" eaLnBrk="1" hangingPunct="1">
              <a:lnSpc>
                <a:spcPct val="100000"/>
              </a:lnSpc>
              <a:spcBef>
                <a:spcPct val="0"/>
              </a:spcBef>
              <a:defRPr sz="12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938" y="0"/>
            <a:ext cx="3037840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33" tIns="46766" rIns="93533" bIns="46766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2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6400" y="696913"/>
            <a:ext cx="61976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0" y="4415791"/>
            <a:ext cx="5608320" cy="4183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33" tIns="46766" rIns="93533" bIns="467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967"/>
            <a:ext cx="3037840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33" tIns="46766" rIns="93533" bIns="46766" numCol="1" anchor="b" anchorCtr="0" compatLnSpc="1">
            <a:prstTxWarp prst="textNoShape">
              <a:avLst/>
            </a:prstTxWarp>
          </a:bodyPr>
          <a:lstStyle>
            <a:lvl1pPr algn="l" eaLnBrk="1" hangingPunct="1">
              <a:lnSpc>
                <a:spcPct val="100000"/>
              </a:lnSpc>
              <a:spcBef>
                <a:spcPct val="0"/>
              </a:spcBef>
              <a:defRPr sz="12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33" tIns="46766" rIns="93533" bIns="46766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2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A3C04D4-FB1A-41E8-904F-82801A50B0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4767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>
              <a:spcBef>
                <a:spcPts val="1200"/>
              </a:spcBef>
              <a:spcAft>
                <a:spcPts val="0"/>
              </a:spcAft>
            </a:pPr>
            <a:r>
              <a:rPr lang="en-US" sz="1400" i="1" dirty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Who, What, Where &amp; When</a:t>
            </a:r>
            <a:endParaRPr lang="en-US" sz="1400" dirty="0">
              <a:solidFill>
                <a:schemeClr val="accent2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R="0" algn="l" eaLnBrk="1" hangingPunct="1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Pct val="90000"/>
            </a:pPr>
            <a:r>
              <a:rPr lang="en-US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WHO </a:t>
            </a:r>
            <a:r>
              <a:rPr lang="en-US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perpetrates</a:t>
            </a:r>
          </a:p>
          <a:p>
            <a:pPr marR="0" algn="l" eaLnBrk="1" hangingPunct="1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Pct val="90000"/>
            </a:pPr>
            <a:r>
              <a:rPr lang="en-US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WHAT </a:t>
            </a:r>
            <a:r>
              <a:rPr lang="en-US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motivates these criminals</a:t>
            </a:r>
          </a:p>
          <a:p>
            <a:pPr marR="0" algn="l" eaLnBrk="1" hangingPunct="1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Pct val="90000"/>
            </a:pPr>
            <a:r>
              <a:rPr lang="en-US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WHERE </a:t>
            </a:r>
            <a:r>
              <a:rPr lang="en-US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can these risks happen, greatest threat? </a:t>
            </a:r>
          </a:p>
          <a:p>
            <a:pPr marR="0" algn="l" eaLnBrk="1" hangingPunct="1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SzPct val="90000"/>
            </a:pPr>
            <a:r>
              <a:rPr lang="en-US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WHEN </a:t>
            </a:r>
            <a:r>
              <a:rPr lang="en-US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do they occur?  Opportunistic vs Targete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3C04D4-FB1A-41E8-904F-82801A50B070}" type="slidenum">
              <a:rPr lang="en-US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14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70836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6330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8600" y="133350"/>
            <a:ext cx="8686800" cy="8572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28600" y="1006078"/>
            <a:ext cx="8686800" cy="3775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2891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21662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r="17631"/>
          <a:stretch/>
        </p:blipFill>
        <p:spPr>
          <a:xfrm>
            <a:off x="315913" y="1037888"/>
            <a:ext cx="8608960" cy="3642360"/>
          </a:xfrm>
          <a:prstGeom prst="rect">
            <a:avLst/>
          </a:prstGeom>
          <a:ln>
            <a:noFill/>
          </a:ln>
          <a:effectLst>
            <a:outerShdw blurRad="190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30907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31182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06478" y="176952"/>
            <a:ext cx="8732039" cy="103641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4000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19088" y="390525"/>
            <a:ext cx="7972425" cy="695325"/>
          </a:xfrm>
        </p:spPr>
        <p:txBody>
          <a:bodyPr anchor="ctr">
            <a:noAutofit/>
          </a:bodyPr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19088" y="1797050"/>
            <a:ext cx="7799388" cy="1696427"/>
          </a:xfrm>
        </p:spPr>
        <p:txBody>
          <a:bodyPr anchor="ctr">
            <a:normAutofit/>
          </a:bodyPr>
          <a:lstStyle>
            <a:lvl1pPr marL="0" indent="0">
              <a:lnSpc>
                <a:spcPct val="95000"/>
              </a:lnSpc>
              <a:buNone/>
              <a:defRPr sz="3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42129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8" b="96048"/>
          <a:stretch/>
        </p:blipFill>
        <p:spPr>
          <a:xfrm>
            <a:off x="11475" y="4975254"/>
            <a:ext cx="9143246" cy="16710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6200" y="36673"/>
            <a:ext cx="8991600" cy="706279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475" y="4728709"/>
            <a:ext cx="8991600" cy="197898"/>
          </a:xfrm>
        </p:spPr>
        <p:txBody>
          <a:bodyPr anchor="b"/>
          <a:lstStyle>
            <a:lvl1pPr>
              <a:defRPr sz="675"/>
            </a:lvl1pPr>
          </a:lstStyle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176" y="4935363"/>
            <a:ext cx="2333624" cy="246888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/>
          <a:p>
            <a:r>
              <a:rPr lang="en-US" sz="900" b="1" dirty="0">
                <a:solidFill>
                  <a:srgbClr val="FFFFFF"/>
                </a:solidFill>
              </a:rPr>
              <a:t>Liberty Mutual Insuran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616721" y="4965320"/>
            <a:ext cx="491067" cy="210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CAC51D3-1443-D241-9B15-22629D825485}" type="slidenum">
              <a:rPr lang="en-US" sz="900" smtClean="0">
                <a:solidFill>
                  <a:srgbClr val="FFFFFF"/>
                </a:solidFill>
              </a:rPr>
              <a:pPr algn="r"/>
              <a:t>‹#›</a:t>
            </a:fld>
            <a:endParaRPr lang="en-US" sz="9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7375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184548"/>
            <a:ext cx="7848600" cy="64889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1066800" y="981075"/>
            <a:ext cx="7848600" cy="37623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7626" y="4882754"/>
            <a:ext cx="347663" cy="1357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6A4937-CB3C-4A84-891D-8EB3CAEA87E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808802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6800" y="981077"/>
            <a:ext cx="3848100" cy="3762375"/>
          </a:xfrm>
        </p:spPr>
        <p:txBody>
          <a:bodyPr/>
          <a:lstStyle>
            <a:lvl1pPr>
              <a:defRPr sz="1800"/>
            </a:lvl1pPr>
            <a:lvl2pPr>
              <a:defRPr sz="165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7300" y="981077"/>
            <a:ext cx="3848100" cy="3762375"/>
          </a:xfrm>
        </p:spPr>
        <p:txBody>
          <a:bodyPr/>
          <a:lstStyle>
            <a:lvl1pPr>
              <a:defRPr sz="1800"/>
            </a:lvl1pPr>
            <a:lvl2pPr>
              <a:defRPr sz="165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331C67-E931-49C1-9887-F68D6765B313}" type="slidenum">
              <a:rPr lang="en-US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733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8600" y="133350"/>
            <a:ext cx="8686800" cy="8572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28600" y="1006078"/>
            <a:ext cx="8686800" cy="37754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7497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4118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r="17631"/>
          <a:stretch/>
        </p:blipFill>
        <p:spPr>
          <a:xfrm>
            <a:off x="315913" y="1037888"/>
            <a:ext cx="8608960" cy="3642360"/>
          </a:xfrm>
          <a:prstGeom prst="rect">
            <a:avLst/>
          </a:prstGeom>
          <a:ln>
            <a:noFill/>
          </a:ln>
          <a:effectLst>
            <a:outerShdw blurRad="1905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5573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763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206478" y="176952"/>
            <a:ext cx="8732039" cy="103641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19088" y="390525"/>
            <a:ext cx="7972425" cy="695325"/>
          </a:xfrm>
        </p:spPr>
        <p:txBody>
          <a:bodyPr anchor="ctr">
            <a:noAutofit/>
          </a:bodyPr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19088" y="1797050"/>
            <a:ext cx="7799388" cy="1696427"/>
          </a:xfrm>
        </p:spPr>
        <p:txBody>
          <a:bodyPr anchor="ctr">
            <a:normAutofit/>
          </a:bodyPr>
          <a:lstStyle>
            <a:lvl1pPr marL="0" indent="0">
              <a:lnSpc>
                <a:spcPct val="95000"/>
              </a:lnSpc>
              <a:buNone/>
              <a:defRPr sz="3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12344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8" b="96048"/>
          <a:stretch/>
        </p:blipFill>
        <p:spPr>
          <a:xfrm>
            <a:off x="11475" y="4975254"/>
            <a:ext cx="9143246" cy="16710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6200" y="36673"/>
            <a:ext cx="8991600" cy="706279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475" y="4728709"/>
            <a:ext cx="8991600" cy="197898"/>
          </a:xfrm>
        </p:spPr>
        <p:txBody>
          <a:bodyPr anchor="b"/>
          <a:lstStyle>
            <a:lvl1pPr>
              <a:defRPr sz="675"/>
            </a:lvl1pPr>
          </a:lstStyle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176" y="4935363"/>
            <a:ext cx="2333624" cy="246888"/>
          </a:xfrm>
          <a:prstGeom prst="rect">
            <a:avLst/>
          </a:prstGeom>
          <a:noFill/>
        </p:spPr>
        <p:txBody>
          <a:bodyPr wrap="square" tIns="0" bIns="0" rtlCol="0" anchor="ctr">
            <a:noAutofit/>
          </a:bodyPr>
          <a:lstStyle/>
          <a:p>
            <a:r>
              <a:rPr lang="en-US" sz="900" b="1" dirty="0">
                <a:solidFill>
                  <a:srgbClr val="FFFFFF"/>
                </a:solidFill>
                <a:cs typeface="Arial" charset="0"/>
              </a:rPr>
              <a:t>Liberty Mutual Insuran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616721" y="4965320"/>
            <a:ext cx="491067" cy="210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CAC51D3-1443-D241-9B15-22629D825485}" type="slidenum">
              <a:rPr lang="en-US" sz="900" smtClean="0">
                <a:solidFill>
                  <a:srgbClr val="FFFFFF"/>
                </a:solidFill>
                <a:cs typeface="Arial" charset="0"/>
              </a:rPr>
              <a:pPr algn="r"/>
              <a:t>‹#›</a:t>
            </a:fld>
            <a:endParaRPr lang="en-US" sz="900" dirty="0" err="1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3347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184548"/>
            <a:ext cx="7848600" cy="64889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1066800" y="981075"/>
            <a:ext cx="7848600" cy="37623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2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7626" y="4882754"/>
            <a:ext cx="347663" cy="1357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6A4937-CB3C-4A84-891D-8EB3CAEA87E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25756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6800" y="981077"/>
            <a:ext cx="3848100" cy="3762375"/>
          </a:xfrm>
        </p:spPr>
        <p:txBody>
          <a:bodyPr/>
          <a:lstStyle>
            <a:lvl1pPr>
              <a:defRPr sz="1800"/>
            </a:lvl1pPr>
            <a:lvl2pPr>
              <a:defRPr sz="165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7300" y="981077"/>
            <a:ext cx="3848100" cy="3762375"/>
          </a:xfrm>
        </p:spPr>
        <p:txBody>
          <a:bodyPr/>
          <a:lstStyle>
            <a:lvl1pPr>
              <a:defRPr sz="1800"/>
            </a:lvl1pPr>
            <a:lvl2pPr>
              <a:defRPr sz="165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331C67-E931-49C1-9887-F68D6765B313}" type="slidenum">
              <a:rPr lang="en-US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8123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87624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8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-9144" y="4896611"/>
            <a:ext cx="9153144" cy="252681"/>
            <a:chOff x="-9144" y="6528816"/>
            <a:chExt cx="9153144" cy="338329"/>
          </a:xfrm>
        </p:grpSpPr>
        <p:sp>
          <p:nvSpPr>
            <p:cNvPr id="8" name="Rectangle 29"/>
            <p:cNvSpPr>
              <a:spLocks noChangeArrowheads="1"/>
            </p:cNvSpPr>
            <p:nvPr userDrawn="1"/>
          </p:nvSpPr>
          <p:spPr bwMode="auto">
            <a:xfrm>
              <a:off x="6391656" y="6528816"/>
              <a:ext cx="2752344" cy="33832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endParaRPr lang="en-US" sz="1000"/>
            </a:p>
          </p:txBody>
        </p:sp>
        <p:sp>
          <p:nvSpPr>
            <p:cNvPr id="9" name="Rectangle 29"/>
            <p:cNvSpPr>
              <a:spLocks noChangeArrowheads="1"/>
            </p:cNvSpPr>
            <p:nvPr/>
          </p:nvSpPr>
          <p:spPr bwMode="auto">
            <a:xfrm>
              <a:off x="-9144" y="6528817"/>
              <a:ext cx="6656832" cy="33832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85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00"/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656833" y="4902655"/>
            <a:ext cx="2447544" cy="23708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000" kern="1200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rPr>
              <a:t>Liberty International Underwriters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133350"/>
            <a:ext cx="86868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006078"/>
            <a:ext cx="8686800" cy="37754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447545" y="4896610"/>
            <a:ext cx="4209288" cy="2468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 defTabSz="914400"/>
            <a:r>
              <a:rPr lang="en-US" sz="1000" dirty="0">
                <a:solidFill>
                  <a:schemeClr val="bg1"/>
                </a:solidFill>
              </a:rPr>
              <a:t>                                                                                   Global Specialty        </a:t>
            </a:r>
          </a:p>
        </p:txBody>
      </p:sp>
    </p:spTree>
    <p:extLst>
      <p:ext uri="{BB962C8B-B14F-4D97-AF65-F5344CB8AC3E}">
        <p14:creationId xmlns:p14="http://schemas.microsoft.com/office/powerpoint/2010/main" val="2835377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61" r:id="rId2"/>
    <p:sldLayoutId id="2147483787" r:id="rId3"/>
    <p:sldLayoutId id="2147483780" r:id="rId4"/>
    <p:sldLayoutId id="2147483782" r:id="rId5"/>
    <p:sldLayoutId id="2147483783" r:id="rId6"/>
    <p:sldLayoutId id="2147483784" r:id="rId7"/>
    <p:sldLayoutId id="2147483785" r:id="rId8"/>
    <p:sldLayoutId id="2147483786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00025" indent="-200025" algn="l" defTabSz="914400" rtl="0" eaLnBrk="1" latinLnBrk="0" hangingPunct="1">
        <a:spcBef>
          <a:spcPct val="20000"/>
        </a:spcBef>
        <a:buClr>
          <a:schemeClr val="bg2"/>
        </a:buClr>
        <a:buSzPct val="90000"/>
        <a:buFont typeface="Wingdings 2" panose="05020102010507070707" pitchFamily="18" charset="2"/>
        <a:buChar char=""/>
        <a:defRPr sz="2200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–"/>
        <a:defRPr sz="2000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2pPr>
      <a:lvl3pPr marL="628650" indent="-171450" algn="l" defTabSz="914400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•"/>
        <a:defRPr sz="1800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3pPr>
      <a:lvl4pPr marL="857250" indent="-228600" algn="l" defTabSz="914400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4pPr>
      <a:lvl5pPr marL="1028700" indent="-171450" algn="l" defTabSz="914400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-9144" y="4896611"/>
            <a:ext cx="9153144" cy="252681"/>
            <a:chOff x="-9144" y="6528816"/>
            <a:chExt cx="9153144" cy="338329"/>
          </a:xfrm>
        </p:grpSpPr>
        <p:sp>
          <p:nvSpPr>
            <p:cNvPr id="8" name="Rectangle 29"/>
            <p:cNvSpPr>
              <a:spLocks noChangeArrowheads="1"/>
            </p:cNvSpPr>
            <p:nvPr userDrawn="1"/>
          </p:nvSpPr>
          <p:spPr bwMode="auto">
            <a:xfrm>
              <a:off x="6391656" y="6528816"/>
              <a:ext cx="2752344" cy="33832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endParaRPr lang="en-US" sz="1000"/>
            </a:p>
          </p:txBody>
        </p:sp>
        <p:sp>
          <p:nvSpPr>
            <p:cNvPr id="9" name="Rectangle 29"/>
            <p:cNvSpPr>
              <a:spLocks noChangeArrowheads="1"/>
            </p:cNvSpPr>
            <p:nvPr/>
          </p:nvSpPr>
          <p:spPr bwMode="auto">
            <a:xfrm>
              <a:off x="-9144" y="6528817"/>
              <a:ext cx="6656832" cy="33832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85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00"/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6656833" y="4902655"/>
            <a:ext cx="2447544" cy="23708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FFFFFF"/>
                </a:solidFill>
              </a:rPr>
              <a:t>Liberty International Underwriters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133350"/>
            <a:ext cx="86868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006078"/>
            <a:ext cx="8686800" cy="37754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447545" y="4896610"/>
            <a:ext cx="4209288" cy="2468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                                                                                   Global Specialty        </a:t>
            </a:r>
          </a:p>
        </p:txBody>
      </p:sp>
    </p:spTree>
    <p:extLst>
      <p:ext uri="{BB962C8B-B14F-4D97-AF65-F5344CB8AC3E}">
        <p14:creationId xmlns:p14="http://schemas.microsoft.com/office/powerpoint/2010/main" val="635725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00025" indent="-200025" algn="l" defTabSz="914400" rtl="0" eaLnBrk="1" latinLnBrk="0" hangingPunct="1">
        <a:spcBef>
          <a:spcPct val="20000"/>
        </a:spcBef>
        <a:buClr>
          <a:schemeClr val="bg2"/>
        </a:buClr>
        <a:buSzPct val="90000"/>
        <a:buFont typeface="Wingdings 2" panose="05020102010507070707" pitchFamily="18" charset="2"/>
        <a:buChar char=""/>
        <a:defRPr sz="2200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–"/>
        <a:defRPr sz="2000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2pPr>
      <a:lvl3pPr marL="628650" indent="-171450" algn="l" defTabSz="914400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•"/>
        <a:defRPr sz="1800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3pPr>
      <a:lvl4pPr marL="857250" indent="-228600" algn="l" defTabSz="914400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4pPr>
      <a:lvl5pPr marL="1028700" indent="-171450" algn="l" defTabSz="914400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uters.com/article/us-cybersecurity-americas-idUSKBN0MY06Z20150407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6131"/>
          <a:stretch/>
        </p:blipFill>
        <p:spPr>
          <a:xfrm flipH="1">
            <a:off x="-57150" y="0"/>
            <a:ext cx="9201148" cy="489984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219575" y="0"/>
            <a:ext cx="4924424" cy="4899847"/>
          </a:xfrm>
          <a:prstGeom prst="rect">
            <a:avLst/>
          </a:prstGeom>
          <a:gradFill>
            <a:gsLst>
              <a:gs pos="3000">
                <a:schemeClr val="accent1">
                  <a:lumMod val="5000"/>
                  <a:lumOff val="95000"/>
                  <a:alpha val="0"/>
                </a:schemeClr>
              </a:gs>
              <a:gs pos="44000">
                <a:schemeClr val="tx2">
                  <a:alpha val="64000"/>
                </a:schemeClr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06478" y="176953"/>
            <a:ext cx="8732039" cy="865868"/>
          </a:xfrm>
          <a:prstGeom prst="rect">
            <a:avLst/>
          </a:prstGeom>
          <a:solidFill>
            <a:schemeClr val="accent2"/>
          </a:solidFill>
          <a:ln>
            <a:solidFill>
              <a:srgbClr val="D5D5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6285" y="242720"/>
            <a:ext cx="7972425" cy="695325"/>
          </a:xfrm>
        </p:spPr>
        <p:txBody>
          <a:bodyPr/>
          <a:lstStyle/>
          <a:p>
            <a:pPr algn="ctr"/>
            <a:r>
              <a:rPr lang="en-US" dirty="0"/>
              <a:t>Liberty International Underwriter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5949057" y="1456236"/>
            <a:ext cx="3242567" cy="1287236"/>
          </a:xfrm>
        </p:spPr>
        <p:txBody>
          <a:bodyPr>
            <a:noAutofit/>
          </a:bodyPr>
          <a:lstStyle/>
          <a:p>
            <a:r>
              <a:rPr lang="en-US" sz="2800" dirty="0">
                <a:solidFill>
                  <a:schemeClr val="accent2"/>
                </a:solidFill>
              </a:rPr>
              <a:t>How Technology is Impacting Environmental Insuranc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958582" y="3319719"/>
            <a:ext cx="2886368" cy="7986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spcBef>
                <a:spcPts val="0"/>
              </a:spcBef>
            </a:pPr>
            <a:r>
              <a:rPr lang="en-US" sz="1800" b="1" dirty="0">
                <a:solidFill>
                  <a:schemeClr val="bg2"/>
                </a:solidFill>
              </a:rPr>
              <a:t>William Bell</a:t>
            </a:r>
          </a:p>
          <a:p>
            <a:pPr algn="l">
              <a:spcBef>
                <a:spcPts val="0"/>
              </a:spcBef>
            </a:pPr>
            <a:r>
              <a:rPr lang="en-US" sz="1800" dirty="0">
                <a:solidFill>
                  <a:schemeClr val="bg2"/>
                </a:solidFill>
              </a:rPr>
              <a:t>Senior Vice President, LIU</a:t>
            </a:r>
          </a:p>
          <a:p>
            <a:pPr algn="l">
              <a:spcBef>
                <a:spcPts val="0"/>
              </a:spcBef>
            </a:pPr>
            <a:r>
              <a:rPr lang="en-US" sz="1800" dirty="0">
                <a:solidFill>
                  <a:schemeClr val="bg2"/>
                </a:solidFill>
              </a:rPr>
              <a:t>October 28, 2016</a:t>
            </a:r>
          </a:p>
        </p:txBody>
      </p:sp>
    </p:spTree>
    <p:extLst>
      <p:ext uri="{BB962C8B-B14F-4D97-AF65-F5344CB8AC3E}">
        <p14:creationId xmlns:p14="http://schemas.microsoft.com/office/powerpoint/2010/main" val="91335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77"/>
          <a:stretch/>
        </p:blipFill>
        <p:spPr>
          <a:xfrm>
            <a:off x="-1" y="598589"/>
            <a:ext cx="4062437" cy="454491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 Landscape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-1" y="1480743"/>
            <a:ext cx="3473043" cy="869966"/>
            <a:chOff x="-1" y="1480743"/>
            <a:chExt cx="3473043" cy="869966"/>
          </a:xfrm>
        </p:grpSpPr>
        <p:sp>
          <p:nvSpPr>
            <p:cNvPr id="34" name="Rectangle 33"/>
            <p:cNvSpPr/>
            <p:nvPr/>
          </p:nvSpPr>
          <p:spPr>
            <a:xfrm>
              <a:off x="-1" y="1480743"/>
              <a:ext cx="3473043" cy="86996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Rectangle 2"/>
            <p:cNvSpPr/>
            <p:nvPr/>
          </p:nvSpPr>
          <p:spPr>
            <a:xfrm>
              <a:off x="228600" y="1558035"/>
              <a:ext cx="2864346" cy="7201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R="0" lvl="0">
                <a:spcBef>
                  <a:spcPts val="0"/>
                </a:spcBef>
                <a:spcAft>
                  <a:spcPts val="0"/>
                </a:spcAft>
              </a:pPr>
              <a:r>
                <a:rPr lang="en-US" sz="2400" dirty="0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</a:rPr>
                <a:t>What is a </a:t>
              </a:r>
              <a:br>
                <a:rPr lang="en-US" sz="2400" dirty="0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</a:rPr>
              </a:br>
              <a:r>
                <a:rPr lang="en-US" sz="2400" b="1" dirty="0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</a:rPr>
                <a:t>cyber incident?</a:t>
              </a:r>
              <a:endParaRPr lang="en-US" sz="24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4288940" y="381801"/>
            <a:ext cx="3941137" cy="1034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/>
                </a:solidFill>
              </a:rPr>
              <a:t>Destructive Hacking Attempts Targeting Critical Infrastructure </a:t>
            </a:r>
            <a:endParaRPr lang="en-US" sz="2400" dirty="0">
              <a:solidFill>
                <a:schemeClr val="accent2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42014" y="2658485"/>
            <a:ext cx="2637519" cy="720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2400" b="1" i="1" dirty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e evolution of cyber risk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28600" y="4636785"/>
            <a:ext cx="8125675" cy="210058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l"/>
            <a:r>
              <a:rPr lang="en-US" sz="900" dirty="0"/>
              <a:t>Source:</a:t>
            </a:r>
            <a:r>
              <a:rPr lang="en-US" sz="900" b="1" dirty="0"/>
              <a:t> </a:t>
            </a:r>
            <a:r>
              <a:rPr lang="en-US" sz="900" dirty="0"/>
              <a:t>Organization of American States, </a:t>
            </a:r>
            <a:r>
              <a:rPr lang="en-US" sz="900" u="sng" dirty="0">
                <a:hlinkClick r:id="rId3"/>
              </a:rPr>
              <a:t>2015 Poll</a:t>
            </a:r>
            <a:r>
              <a:rPr lang="en-US" sz="900" b="1" dirty="0"/>
              <a:t> </a:t>
            </a:r>
            <a:endParaRPr lang="en-US" sz="900" dirty="0"/>
          </a:p>
        </p:txBody>
      </p:sp>
      <p:sp>
        <p:nvSpPr>
          <p:cNvPr id="12" name="Rectangle 11"/>
          <p:cNvSpPr/>
          <p:nvPr/>
        </p:nvSpPr>
        <p:spPr>
          <a:xfrm>
            <a:off x="3716291" y="3613465"/>
            <a:ext cx="2543218" cy="7986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/>
              <a:t>battled attempts to shut-down their computer network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259509" y="3613465"/>
            <a:ext cx="2682154" cy="103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/>
              <a:t>encountered attempts to manipulate their equipment through </a:t>
            </a:r>
            <a:br>
              <a:rPr lang="en-US" sz="1800" dirty="0"/>
            </a:br>
            <a:r>
              <a:rPr lang="en-US" sz="1800" dirty="0"/>
              <a:t>a control system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3999127" y="1708293"/>
            <a:ext cx="2050085" cy="1905172"/>
            <a:chOff x="3999127" y="1708293"/>
            <a:chExt cx="2050085" cy="1905172"/>
          </a:xfrm>
        </p:grpSpPr>
        <p:graphicFrame>
          <p:nvGraphicFramePr>
            <p:cNvPr id="22" name="Chart 21"/>
            <p:cNvGraphicFramePr/>
            <p:nvPr>
              <p:extLst>
                <p:ext uri="{D42A27DB-BD31-4B8C-83A1-F6EECF244321}">
                  <p14:modId xmlns:p14="http://schemas.microsoft.com/office/powerpoint/2010/main" val="3886716043"/>
                </p:ext>
              </p:extLst>
            </p:nvPr>
          </p:nvGraphicFramePr>
          <p:xfrm>
            <a:off x="3999127" y="1708293"/>
            <a:ext cx="1932264" cy="19051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6" name="Rectangle 15"/>
            <p:cNvSpPr/>
            <p:nvPr/>
          </p:nvSpPr>
          <p:spPr>
            <a:xfrm>
              <a:off x="4577334" y="2350709"/>
              <a:ext cx="1471878" cy="6678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4400" b="1" dirty="0">
                  <a:ln w="0"/>
                  <a:gradFill flip="none" rotWithShape="1">
                    <a:gsLst>
                      <a:gs pos="0">
                        <a:schemeClr val="accent1">
                          <a:shade val="30000"/>
                          <a:satMod val="115000"/>
                        </a:schemeClr>
                      </a:gs>
                      <a:gs pos="50000">
                        <a:schemeClr val="accent1">
                          <a:shade val="67500"/>
                          <a:satMod val="115000"/>
                        </a:schemeClr>
                      </a:gs>
                      <a:gs pos="100000">
                        <a:schemeClr val="accent1">
                          <a:shade val="100000"/>
                          <a:satMod val="115000"/>
                        </a:schemeClr>
                      </a:gs>
                    </a:gsLst>
                    <a:lin ang="13500000" scaled="1"/>
                    <a:tileRect/>
                  </a:gra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40% 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6533324" y="1708293"/>
            <a:ext cx="2050085" cy="1905172"/>
            <a:chOff x="6533324" y="1708293"/>
            <a:chExt cx="2050085" cy="1905172"/>
          </a:xfrm>
        </p:grpSpPr>
        <p:graphicFrame>
          <p:nvGraphicFramePr>
            <p:cNvPr id="25" name="Chart 24"/>
            <p:cNvGraphicFramePr/>
            <p:nvPr>
              <p:extLst>
                <p:ext uri="{D42A27DB-BD31-4B8C-83A1-F6EECF244321}">
                  <p14:modId xmlns:p14="http://schemas.microsoft.com/office/powerpoint/2010/main" val="1537591514"/>
                </p:ext>
              </p:extLst>
            </p:nvPr>
          </p:nvGraphicFramePr>
          <p:xfrm>
            <a:off x="6533324" y="1708293"/>
            <a:ext cx="1932264" cy="19051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26" name="Rectangle 25"/>
            <p:cNvSpPr/>
            <p:nvPr/>
          </p:nvSpPr>
          <p:spPr>
            <a:xfrm>
              <a:off x="7111531" y="2350709"/>
              <a:ext cx="1471878" cy="6678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4400" b="1" dirty="0">
                  <a:ln w="0"/>
                  <a:gradFill flip="none" rotWithShape="1">
                    <a:gsLst>
                      <a:gs pos="0">
                        <a:schemeClr val="accent2">
                          <a:lumMod val="90000"/>
                          <a:lumOff val="10000"/>
                        </a:schemeClr>
                      </a:gs>
                      <a:gs pos="50000">
                        <a:schemeClr val="accent2">
                          <a:lumMod val="90000"/>
                          <a:lumOff val="10000"/>
                        </a:schemeClr>
                      </a:gs>
                      <a:gs pos="100000">
                        <a:schemeClr val="accent2"/>
                      </a:gs>
                    </a:gsLst>
                    <a:lin ang="13500000" scaled="1"/>
                    <a:tileRect/>
                  </a:gra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54% </a:t>
              </a: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4288940" y="1423528"/>
            <a:ext cx="394113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2"/>
                </a:solidFill>
              </a:rPr>
              <a:t>Percent of Companies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3716291" y="386900"/>
            <a:ext cx="0" cy="4459943"/>
          </a:xfrm>
          <a:prstGeom prst="line">
            <a:avLst/>
          </a:prstGeom>
          <a:ln w="12700">
            <a:solidFill>
              <a:schemeClr val="accent4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085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75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1" grpId="0"/>
      <p:bldP spid="12" grpId="0"/>
      <p:bldP spid="14" grpId="0"/>
      <p:bldP spid="2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86"/>
          <a:stretch/>
        </p:blipFill>
        <p:spPr>
          <a:xfrm>
            <a:off x="3005835" y="1024680"/>
            <a:ext cx="3132331" cy="165242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3350"/>
            <a:ext cx="8275320" cy="857250"/>
          </a:xfrm>
        </p:spPr>
        <p:txBody>
          <a:bodyPr/>
          <a:lstStyle/>
          <a:p>
            <a:r>
              <a:rPr lang="en-US" dirty="0"/>
              <a:t>Cyber Breach Incidents Defined</a:t>
            </a:r>
          </a:p>
        </p:txBody>
      </p:sp>
      <p:sp>
        <p:nvSpPr>
          <p:cNvPr id="8" name="Rectangle 7"/>
          <p:cNvSpPr/>
          <p:nvPr/>
        </p:nvSpPr>
        <p:spPr>
          <a:xfrm>
            <a:off x="3671753" y="1137658"/>
            <a:ext cx="1800494" cy="563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3600" b="1" dirty="0">
                <a:solidFill>
                  <a:srgbClr val="EFB2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RIME </a:t>
            </a:r>
          </a:p>
        </p:txBody>
      </p:sp>
      <p:sp>
        <p:nvSpPr>
          <p:cNvPr id="9" name="Rectangle 8"/>
          <p:cNvSpPr/>
          <p:nvPr/>
        </p:nvSpPr>
        <p:spPr>
          <a:xfrm>
            <a:off x="4274483" y="1608721"/>
            <a:ext cx="595035" cy="5109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vs</a:t>
            </a: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094673" y="2117793"/>
            <a:ext cx="2954655" cy="563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b="1" dirty="0">
                <a:solidFill>
                  <a:srgbClr val="EFB2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ERRORISM</a:t>
            </a:r>
            <a:endParaRPr lang="en-US" sz="3600" b="1" dirty="0">
              <a:solidFill>
                <a:srgbClr val="EFB2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16591" y="1098567"/>
            <a:ext cx="2057232" cy="128016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hangingPunct="1">
              <a:spcBef>
                <a:spcPts val="1200"/>
              </a:spcBef>
              <a:spcAft>
                <a:spcPts val="0"/>
              </a:spcAft>
              <a:buClr>
                <a:srgbClr val="666666"/>
              </a:buClr>
              <a:buSzPct val="90000"/>
            </a:pPr>
            <a:r>
              <a:rPr lang="en-US" sz="2800" b="1" dirty="0">
                <a:solidFill>
                  <a:srgbClr val="001D61"/>
                </a:solidFill>
                <a:cs typeface="Arial" pitchFamily="34" charset="0"/>
              </a:rPr>
              <a:t>WHO </a:t>
            </a:r>
            <a:br>
              <a:rPr lang="en-US" b="1" dirty="0">
                <a:solidFill>
                  <a:srgbClr val="001D61"/>
                </a:solidFill>
                <a:cs typeface="Arial" pitchFamily="34" charset="0"/>
              </a:rPr>
            </a:br>
            <a:r>
              <a:rPr lang="en-US" sz="1800" dirty="0">
                <a:solidFill>
                  <a:schemeClr val="accent4"/>
                </a:solidFill>
                <a:cs typeface="Arial" pitchFamily="34" charset="0"/>
              </a:rPr>
              <a:t>perpetrates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64509"/>
            <a:ext cx="1563052" cy="2689368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6705603" y="1098566"/>
            <a:ext cx="2057232" cy="128016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hangingPunct="1">
              <a:spcBef>
                <a:spcPts val="1200"/>
              </a:spcBef>
              <a:spcAft>
                <a:spcPts val="0"/>
              </a:spcAft>
              <a:buClr>
                <a:srgbClr val="666666"/>
              </a:buClr>
              <a:buSzPct val="90000"/>
            </a:pPr>
            <a:r>
              <a:rPr lang="en-US" sz="2800" b="1" dirty="0">
                <a:solidFill>
                  <a:srgbClr val="001D61"/>
                </a:solidFill>
                <a:cs typeface="Arial" pitchFamily="34" charset="0"/>
              </a:rPr>
              <a:t>WHERE </a:t>
            </a:r>
            <a:br>
              <a:rPr lang="en-US" b="1" dirty="0">
                <a:solidFill>
                  <a:srgbClr val="001D61"/>
                </a:solidFill>
                <a:cs typeface="Arial" pitchFamily="34" charset="0"/>
              </a:rPr>
            </a:br>
            <a:r>
              <a:rPr lang="en-US" sz="1800" dirty="0">
                <a:solidFill>
                  <a:schemeClr val="accent4"/>
                </a:solidFill>
                <a:cs typeface="Arial" pitchFamily="34" charset="0"/>
              </a:rPr>
              <a:t>can these risks happen, greatest threat? </a:t>
            </a:r>
            <a:endParaRPr lang="en-US" dirty="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055115" y="3209590"/>
            <a:ext cx="2057232" cy="128016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hangingPunct="1">
              <a:spcBef>
                <a:spcPts val="1200"/>
              </a:spcBef>
              <a:spcAft>
                <a:spcPts val="0"/>
              </a:spcAft>
              <a:buClr>
                <a:srgbClr val="666666"/>
              </a:buClr>
              <a:buSzPct val="90000"/>
            </a:pPr>
            <a:r>
              <a:rPr lang="en-US" sz="2800" b="1" dirty="0">
                <a:solidFill>
                  <a:srgbClr val="001D61"/>
                </a:solidFill>
                <a:cs typeface="Arial" pitchFamily="34" charset="0"/>
              </a:rPr>
              <a:t>WHAT </a:t>
            </a:r>
            <a:r>
              <a:rPr lang="en-US" sz="1800" dirty="0">
                <a:solidFill>
                  <a:schemeClr val="accent4"/>
                </a:solidFill>
                <a:cs typeface="Arial" pitchFamily="34" charset="0"/>
              </a:rPr>
              <a:t>motivates these criminal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031654" y="3209590"/>
            <a:ext cx="2057232" cy="128016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hangingPunct="1">
              <a:spcBef>
                <a:spcPts val="1200"/>
              </a:spcBef>
              <a:spcAft>
                <a:spcPts val="0"/>
              </a:spcAft>
              <a:buClr>
                <a:srgbClr val="666666"/>
              </a:buClr>
              <a:buSzPct val="90000"/>
            </a:pPr>
            <a:r>
              <a:rPr lang="en-US" sz="2800" b="1" dirty="0">
                <a:solidFill>
                  <a:srgbClr val="001D61"/>
                </a:solidFill>
                <a:cs typeface="Arial" pitchFamily="34" charset="0"/>
              </a:rPr>
              <a:t>WHEN </a:t>
            </a:r>
            <a:br>
              <a:rPr lang="en-US" sz="2800" b="1" dirty="0">
                <a:solidFill>
                  <a:srgbClr val="001D61"/>
                </a:solidFill>
                <a:cs typeface="Arial" pitchFamily="34" charset="0"/>
              </a:rPr>
            </a:br>
            <a:r>
              <a:rPr lang="en-US" sz="1800" dirty="0">
                <a:solidFill>
                  <a:schemeClr val="accent4"/>
                </a:solidFill>
                <a:cs typeface="Arial" pitchFamily="34" charset="0"/>
              </a:rPr>
              <a:t>do they occur?  Opportunistic vs Targeted</a:t>
            </a:r>
          </a:p>
        </p:txBody>
      </p:sp>
      <p:sp>
        <p:nvSpPr>
          <p:cNvPr id="20" name="Right Arrow 19"/>
          <p:cNvSpPr/>
          <p:nvPr/>
        </p:nvSpPr>
        <p:spPr>
          <a:xfrm>
            <a:off x="2198255" y="1419145"/>
            <a:ext cx="753380" cy="613709"/>
          </a:xfrm>
          <a:prstGeom prst="rightArrow">
            <a:avLst/>
          </a:prstGeom>
          <a:gradFill flip="none" rotWithShape="1">
            <a:gsLst>
              <a:gs pos="3000">
                <a:schemeClr val="accent1">
                  <a:lumMod val="5000"/>
                  <a:lumOff val="95000"/>
                  <a:alpha val="0"/>
                </a:schemeClr>
              </a:gs>
              <a:gs pos="16000">
                <a:schemeClr val="accent6">
                  <a:lumMod val="40000"/>
                  <a:lumOff val="60000"/>
                </a:schemeClr>
              </a:gs>
              <a:gs pos="70000">
                <a:schemeClr val="accent6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ight Arrow 20"/>
          <p:cNvSpPr/>
          <p:nvPr/>
        </p:nvSpPr>
        <p:spPr>
          <a:xfrm rot="16200000" flipV="1">
            <a:off x="3403430" y="2669468"/>
            <a:ext cx="753380" cy="613709"/>
          </a:xfrm>
          <a:prstGeom prst="rightArrow">
            <a:avLst/>
          </a:prstGeom>
          <a:gradFill flip="none" rotWithShape="1">
            <a:gsLst>
              <a:gs pos="3000">
                <a:schemeClr val="accent1">
                  <a:lumMod val="5000"/>
                  <a:lumOff val="95000"/>
                  <a:alpha val="0"/>
                </a:schemeClr>
              </a:gs>
              <a:gs pos="16000">
                <a:schemeClr val="accent6">
                  <a:lumMod val="40000"/>
                  <a:lumOff val="60000"/>
                </a:schemeClr>
              </a:gs>
              <a:gs pos="70000">
                <a:schemeClr val="accent6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ight Arrow 21"/>
          <p:cNvSpPr/>
          <p:nvPr/>
        </p:nvSpPr>
        <p:spPr>
          <a:xfrm rot="16200000" flipV="1">
            <a:off x="5009443" y="2669467"/>
            <a:ext cx="753380" cy="613709"/>
          </a:xfrm>
          <a:prstGeom prst="rightArrow">
            <a:avLst/>
          </a:prstGeom>
          <a:gradFill flip="none" rotWithShape="1">
            <a:gsLst>
              <a:gs pos="3000">
                <a:schemeClr val="accent1">
                  <a:lumMod val="5000"/>
                  <a:lumOff val="95000"/>
                  <a:alpha val="0"/>
                </a:schemeClr>
              </a:gs>
              <a:gs pos="16000">
                <a:schemeClr val="accent6">
                  <a:lumMod val="40000"/>
                  <a:lumOff val="60000"/>
                </a:schemeClr>
              </a:gs>
              <a:gs pos="70000">
                <a:schemeClr val="accent6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ight Arrow 22"/>
          <p:cNvSpPr/>
          <p:nvPr/>
        </p:nvSpPr>
        <p:spPr>
          <a:xfrm flipH="1">
            <a:off x="6151928" y="1375207"/>
            <a:ext cx="753380" cy="613709"/>
          </a:xfrm>
          <a:prstGeom prst="rightArrow">
            <a:avLst/>
          </a:prstGeom>
          <a:gradFill flip="none" rotWithShape="1">
            <a:gsLst>
              <a:gs pos="3000">
                <a:schemeClr val="accent1">
                  <a:lumMod val="5000"/>
                  <a:lumOff val="95000"/>
                  <a:alpha val="0"/>
                </a:schemeClr>
              </a:gs>
              <a:gs pos="16000">
                <a:schemeClr val="accent6">
                  <a:lumMod val="40000"/>
                  <a:lumOff val="60000"/>
                </a:schemeClr>
              </a:gs>
              <a:gs pos="70000">
                <a:schemeClr val="accent6"/>
              </a:gs>
              <a:gs pos="100000">
                <a:schemeClr val="accent6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55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75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25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3" grpId="0" animBg="1"/>
      <p:bldP spid="17" grpId="0" animBg="1"/>
      <p:bldP spid="14" grpId="0" animBg="1"/>
      <p:bldP spid="18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46627"/>
            <a:ext cx="4663974" cy="39504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 of Cyber Breach Incide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228600" y="4636785"/>
            <a:ext cx="8125675" cy="210058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l"/>
            <a:r>
              <a:rPr lang="en-US" sz="900" dirty="0"/>
              <a:t>Source:  “Protecting Organizations from Cyber Attack, Cliff </a:t>
            </a:r>
            <a:r>
              <a:rPr lang="en-US" sz="900" dirty="0" err="1"/>
              <a:t>Glantz</a:t>
            </a:r>
            <a:r>
              <a:rPr lang="en-US" sz="900" dirty="0"/>
              <a:t> and Guy </a:t>
            </a:r>
            <a:r>
              <a:rPr lang="en-US" sz="900" dirty="0" err="1"/>
              <a:t>Landine</a:t>
            </a:r>
            <a:r>
              <a:rPr lang="en-US" sz="900" dirty="0"/>
              <a:t>- Pacific Northwest National Laboratory, 2012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6538786"/>
              </p:ext>
            </p:extLst>
          </p:nvPr>
        </p:nvGraphicFramePr>
        <p:xfrm>
          <a:off x="1606222" y="1174459"/>
          <a:ext cx="6587280" cy="2902591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22000"/>
                    </a:prstClr>
                  </a:outerShdw>
                </a:effectLst>
              </a:tblPr>
              <a:tblGrid>
                <a:gridCol w="2199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872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741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en-US" sz="2000" b="1" i="0" u="none" strike="noStrike" dirty="0">
                          <a:solidFill>
                            <a:schemeClr val="tx2"/>
                          </a:solidFill>
                          <a:effectLst/>
                          <a:latin typeface="Rockwell" panose="02060603020205020403" pitchFamily="18" charset="0"/>
                        </a:rPr>
                        <a:t>Area</a:t>
                      </a:r>
                    </a:p>
                  </a:txBody>
                  <a:tcPr marR="4019" marT="4019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en-US" sz="2000" b="1" i="0" u="none" strike="noStrike" dirty="0">
                          <a:solidFill>
                            <a:schemeClr val="tx2"/>
                          </a:solidFill>
                          <a:effectLst/>
                          <a:latin typeface="Rockwell" panose="02060603020205020403" pitchFamily="18" charset="0"/>
                        </a:rPr>
                        <a:t>Description</a:t>
                      </a:r>
                    </a:p>
                  </a:txBody>
                  <a:tcPr marL="38576" marR="4019" marT="4019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845"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90000"/>
                        </a:lnSpc>
                        <a:buNone/>
                      </a:pPr>
                      <a:r>
                        <a:rPr lang="en-US" sz="16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Loss of Confidentiality</a:t>
                      </a:r>
                    </a:p>
                  </a:txBody>
                  <a:tcPr marR="4019" marT="4019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90000"/>
                        </a:lnSpc>
                        <a:buNone/>
                      </a:pPr>
                      <a:r>
                        <a:rPr lang="en-US" sz="16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Loss of information, critical data, customer information, financial data, etc.</a:t>
                      </a:r>
                    </a:p>
                  </a:txBody>
                  <a:tcPr marT="4019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22694">
                <a:tc>
                  <a:txBody>
                    <a:bodyPr/>
                    <a:lstStyle/>
                    <a:p>
                      <a:pPr marL="0" indent="0" algn="l" rtl="0" fontAlgn="b">
                        <a:lnSpc>
                          <a:spcPct val="90000"/>
                        </a:lnSpc>
                        <a:buNone/>
                      </a:pPr>
                      <a:r>
                        <a:rPr lang="en-US" sz="16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Loss of Integrity</a:t>
                      </a:r>
                    </a:p>
                  </a:txBody>
                  <a:tcPr marR="4019" marT="4019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rtl="0" fontAlgn="b">
                        <a:lnSpc>
                          <a:spcPct val="90000"/>
                        </a:lnSpc>
                        <a:buNone/>
                      </a:pPr>
                      <a:r>
                        <a:rPr lang="en-US" sz="16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The</a:t>
                      </a:r>
                      <a:r>
                        <a:rPr lang="en-US" sz="1600" b="0" i="0" u="none" strike="noStrike" baseline="0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 critical system is in operation but the company cannot control the system or the process; i.e., someone external to the company/entity is controlling the systems</a:t>
                      </a:r>
                      <a:endParaRPr lang="en-US" sz="1600" b="0" i="0" u="none" strike="noStrike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marT="4019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3845"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90000"/>
                        </a:lnSpc>
                        <a:buNone/>
                      </a:pPr>
                      <a:r>
                        <a:rPr lang="en-US" sz="16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Loss of Availability</a:t>
                      </a:r>
                    </a:p>
                  </a:txBody>
                  <a:tcPr marR="4019" marT="4019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lnSpc>
                          <a:spcPct val="90000"/>
                        </a:lnSpc>
                      </a:pPr>
                      <a:r>
                        <a:rPr lang="en-US" sz="16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Denial of Service</a:t>
                      </a:r>
                      <a:r>
                        <a:rPr lang="en-US" sz="1600" b="0" i="0" u="none" strike="noStrike" baseline="0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 Attack System becomes inoperative or ineffective</a:t>
                      </a:r>
                      <a:endParaRPr lang="en-US" sz="1600" b="0" i="0" u="none" strike="noStrike" baseline="50000" dirty="0">
                        <a:solidFill>
                          <a:schemeClr val="accent2"/>
                        </a:solidFill>
                        <a:effectLst/>
                        <a:latin typeface="Arial"/>
                      </a:endParaRPr>
                    </a:p>
                  </a:txBody>
                  <a:tcPr marT="4019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4790">
                <a:tc>
                  <a:txBody>
                    <a:bodyPr/>
                    <a:lstStyle/>
                    <a:p>
                      <a:pPr marL="0" indent="0" algn="l" rtl="0" fontAlgn="b">
                        <a:lnSpc>
                          <a:spcPct val="90000"/>
                        </a:lnSpc>
                        <a:buNone/>
                      </a:pPr>
                      <a:r>
                        <a:rPr lang="en-US" sz="16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Destruction of System</a:t>
                      </a:r>
                    </a:p>
                  </a:txBody>
                  <a:tcPr marR="4019" marT="4019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Destruction of system</a:t>
                      </a:r>
                      <a:endParaRPr lang="en-US" sz="1600" b="0" i="0" u="none" strike="noStrike" baseline="30000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528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42"/>
          <a:stretch/>
        </p:blipFill>
        <p:spPr>
          <a:xfrm>
            <a:off x="1265726" y="1"/>
            <a:ext cx="7878274" cy="49075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 Breach Exposures</a:t>
            </a:r>
          </a:p>
        </p:txBody>
      </p:sp>
      <p:grpSp>
        <p:nvGrpSpPr>
          <p:cNvPr id="46" name="Group 45"/>
          <p:cNvGrpSpPr/>
          <p:nvPr/>
        </p:nvGrpSpPr>
        <p:grpSpPr>
          <a:xfrm>
            <a:off x="0" y="1244467"/>
            <a:ext cx="3145872" cy="645952"/>
            <a:chOff x="0" y="1244467"/>
            <a:chExt cx="3145872" cy="645952"/>
          </a:xfrm>
        </p:grpSpPr>
        <p:sp>
          <p:nvSpPr>
            <p:cNvPr id="9" name="Rectangle 8"/>
            <p:cNvSpPr/>
            <p:nvPr/>
          </p:nvSpPr>
          <p:spPr>
            <a:xfrm>
              <a:off x="0" y="1244467"/>
              <a:ext cx="3145872" cy="64595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897553" y="1363897"/>
              <a:ext cx="1244251" cy="38010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en-US" sz="2200" b="1" dirty="0">
                  <a:solidFill>
                    <a:schemeClr val="bg1"/>
                  </a:solidFill>
                </a:rPr>
                <a:t>At </a:t>
              </a:r>
              <a:r>
                <a:rPr lang="en-US" dirty="0">
                  <a:solidFill>
                    <a:schemeClr val="bg1"/>
                  </a:solidFill>
                </a:rPr>
                <a:t>a site 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3141802" y="1244467"/>
            <a:ext cx="6002197" cy="645952"/>
            <a:chOff x="3141802" y="1244467"/>
            <a:chExt cx="6002197" cy="645952"/>
          </a:xfrm>
        </p:grpSpPr>
        <p:sp>
          <p:nvSpPr>
            <p:cNvPr id="25" name="Rectangle 24"/>
            <p:cNvSpPr/>
            <p:nvPr/>
          </p:nvSpPr>
          <p:spPr>
            <a:xfrm>
              <a:off x="3141802" y="1244467"/>
              <a:ext cx="6002197" cy="645952"/>
            </a:xfrm>
            <a:prstGeom prst="rect">
              <a:avLst/>
            </a:prstGeom>
            <a:gradFill flip="none" rotWithShape="1">
              <a:gsLst>
                <a:gs pos="7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algn="l" rotWithShape="0">
                <a:srgbClr val="0070C0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238074" y="1376978"/>
              <a:ext cx="2549096" cy="35394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en-US" dirty="0"/>
                <a:t>Operating processes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0" y="2092930"/>
            <a:ext cx="3145872" cy="645952"/>
            <a:chOff x="0" y="2092930"/>
            <a:chExt cx="3145872" cy="645952"/>
          </a:xfrm>
        </p:grpSpPr>
        <p:sp>
          <p:nvSpPr>
            <p:cNvPr id="19" name="Rectangle 18"/>
            <p:cNvSpPr/>
            <p:nvPr/>
          </p:nvSpPr>
          <p:spPr>
            <a:xfrm>
              <a:off x="0" y="2092930"/>
              <a:ext cx="3145872" cy="64595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759517" y="2249033"/>
              <a:ext cx="2382287" cy="38010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r"/>
              <a:r>
                <a:rPr lang="en-US" sz="2200" b="1" dirty="0">
                  <a:solidFill>
                    <a:schemeClr val="bg1"/>
                  </a:solidFill>
                </a:rPr>
                <a:t>Adjacent </a:t>
              </a:r>
              <a:r>
                <a:rPr lang="en-US" dirty="0">
                  <a:solidFill>
                    <a:schemeClr val="bg1"/>
                  </a:solidFill>
                </a:rPr>
                <a:t>to site 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0" y="2941393"/>
            <a:ext cx="3145872" cy="645952"/>
            <a:chOff x="0" y="2941393"/>
            <a:chExt cx="3145872" cy="645952"/>
          </a:xfrm>
        </p:grpSpPr>
        <p:sp>
          <p:nvSpPr>
            <p:cNvPr id="20" name="Rectangle 19"/>
            <p:cNvSpPr/>
            <p:nvPr/>
          </p:nvSpPr>
          <p:spPr>
            <a:xfrm>
              <a:off x="0" y="2941393"/>
              <a:ext cx="3145872" cy="64595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10580" y="3084049"/>
              <a:ext cx="2831224" cy="38010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en-US" sz="2200" b="1" dirty="0">
                  <a:solidFill>
                    <a:schemeClr val="bg1"/>
                  </a:solidFill>
                </a:rPr>
                <a:t>In proximity </a:t>
              </a:r>
              <a:r>
                <a:rPr lang="en-US" dirty="0">
                  <a:solidFill>
                    <a:schemeClr val="bg1"/>
                  </a:solidFill>
                </a:rPr>
                <a:t>to a site 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141802" y="2941393"/>
            <a:ext cx="6002197" cy="645952"/>
            <a:chOff x="3141802" y="2941393"/>
            <a:chExt cx="6002197" cy="645952"/>
          </a:xfrm>
        </p:grpSpPr>
        <p:sp>
          <p:nvSpPr>
            <p:cNvPr id="27" name="Rectangle 26"/>
            <p:cNvSpPr/>
            <p:nvPr/>
          </p:nvSpPr>
          <p:spPr>
            <a:xfrm>
              <a:off x="3141802" y="2941393"/>
              <a:ext cx="6002197" cy="645952"/>
            </a:xfrm>
            <a:prstGeom prst="rect">
              <a:avLst/>
            </a:prstGeom>
            <a:gradFill flip="none" rotWithShape="1">
              <a:gsLst>
                <a:gs pos="7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algn="l" rotWithShape="0">
                <a:srgbClr val="0070C0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238074" y="3097130"/>
              <a:ext cx="5677326" cy="353943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l"/>
              <a:r>
                <a:rPr lang="en-US" dirty="0"/>
                <a:t>Densely populated areas or natural resources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0" y="3789857"/>
            <a:ext cx="3145872" cy="645952"/>
            <a:chOff x="0" y="3789857"/>
            <a:chExt cx="3145872" cy="645952"/>
          </a:xfrm>
        </p:grpSpPr>
        <p:sp>
          <p:nvSpPr>
            <p:cNvPr id="21" name="Rectangle 20"/>
            <p:cNvSpPr/>
            <p:nvPr/>
          </p:nvSpPr>
          <p:spPr>
            <a:xfrm>
              <a:off x="0" y="3789857"/>
              <a:ext cx="3145872" cy="64595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54236" y="3948942"/>
              <a:ext cx="2587568" cy="380104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r"/>
              <a:r>
                <a:rPr lang="en-US" sz="2200" b="1" dirty="0">
                  <a:solidFill>
                    <a:schemeClr val="bg1"/>
                  </a:solidFill>
                </a:rPr>
                <a:t>Business income 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3141802" y="3789857"/>
            <a:ext cx="6002197" cy="645952"/>
            <a:chOff x="3141802" y="3789857"/>
            <a:chExt cx="6002197" cy="645952"/>
          </a:xfrm>
        </p:grpSpPr>
        <p:sp>
          <p:nvSpPr>
            <p:cNvPr id="28" name="Rectangle 27"/>
            <p:cNvSpPr/>
            <p:nvPr/>
          </p:nvSpPr>
          <p:spPr>
            <a:xfrm>
              <a:off x="3141802" y="3789857"/>
              <a:ext cx="6002197" cy="645952"/>
            </a:xfrm>
            <a:prstGeom prst="rect">
              <a:avLst/>
            </a:prstGeom>
            <a:gradFill flip="none" rotWithShape="1">
              <a:gsLst>
                <a:gs pos="7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algn="l" rotWithShape="0">
                <a:srgbClr val="0070C0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3238074" y="3962023"/>
              <a:ext cx="5677326" cy="353943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l"/>
              <a:r>
                <a:rPr lang="en-US" dirty="0"/>
                <a:t>Impact of closed operations 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3141801" y="2092930"/>
            <a:ext cx="6002197" cy="645952"/>
            <a:chOff x="3141801" y="2092930"/>
            <a:chExt cx="6002197" cy="645952"/>
          </a:xfrm>
        </p:grpSpPr>
        <p:sp>
          <p:nvSpPr>
            <p:cNvPr id="26" name="Rectangle 25"/>
            <p:cNvSpPr/>
            <p:nvPr/>
          </p:nvSpPr>
          <p:spPr>
            <a:xfrm>
              <a:off x="3141801" y="2092930"/>
              <a:ext cx="6002197" cy="645952"/>
            </a:xfrm>
            <a:prstGeom prst="rect">
              <a:avLst/>
            </a:prstGeom>
            <a:gradFill flip="none" rotWithShape="1">
              <a:gsLst>
                <a:gs pos="7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algn="l" rotWithShape="0">
                <a:srgbClr val="0070C0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238074" y="2262114"/>
              <a:ext cx="5677326" cy="353943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l"/>
              <a:r>
                <a:rPr lang="en-US" dirty="0">
                  <a:solidFill>
                    <a:schemeClr val="tx1"/>
                  </a:solidFill>
                </a:rPr>
                <a:t>Industry and Infrastru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15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25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25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0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89585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54112" y="0"/>
            <a:ext cx="4686335" cy="4781550"/>
          </a:xfrm>
          <a:prstGeom prst="rect">
            <a:avLst/>
          </a:prstGeom>
          <a:gradFill>
            <a:gsLst>
              <a:gs pos="15000">
                <a:schemeClr val="bg1"/>
              </a:gs>
              <a:gs pos="100000">
                <a:schemeClr val="bg1">
                  <a:alpha val="70000"/>
                </a:schemeClr>
              </a:gs>
            </a:gsLst>
            <a:lin ang="48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840" y="133350"/>
            <a:ext cx="8686800" cy="857250"/>
          </a:xfrm>
        </p:spPr>
        <p:txBody>
          <a:bodyPr/>
          <a:lstStyle/>
          <a:p>
            <a:r>
              <a:rPr lang="en-US" dirty="0"/>
              <a:t>Environmental Insura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78840" y="990600"/>
            <a:ext cx="4729294" cy="1571730"/>
          </a:xfrm>
        </p:spPr>
        <p:txBody>
          <a:bodyPr/>
          <a:lstStyle/>
          <a:p>
            <a:pPr lvl="0">
              <a:spcBef>
                <a:spcPts val="1200"/>
              </a:spcBef>
            </a:pPr>
            <a:r>
              <a:rPr lang="en-US" dirty="0"/>
              <a:t>Policy types</a:t>
            </a:r>
          </a:p>
          <a:p>
            <a:pPr lvl="0">
              <a:spcBef>
                <a:spcPts val="1200"/>
              </a:spcBef>
            </a:pPr>
            <a:r>
              <a:rPr lang="en-US" dirty="0"/>
              <a:t>Definition of a pollution condition</a:t>
            </a:r>
          </a:p>
          <a:p>
            <a:pPr lvl="0">
              <a:spcBef>
                <a:spcPts val="1200"/>
              </a:spcBef>
            </a:pPr>
            <a:r>
              <a:rPr lang="en-US" dirty="0"/>
              <a:t>Basic coverage descriptions</a:t>
            </a:r>
          </a:p>
          <a:p>
            <a:pPr lvl="0">
              <a:spcBef>
                <a:spcPts val="1200"/>
              </a:spcBef>
            </a:pPr>
            <a:endParaRPr lang="en-US" dirty="0"/>
          </a:p>
          <a:p>
            <a:pPr>
              <a:spcBef>
                <a:spcPts val="1200"/>
              </a:spcBef>
            </a:pP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826725" y="2835760"/>
            <a:ext cx="3108543" cy="406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2400" b="1" i="1" dirty="0">
                <a:solidFill>
                  <a:schemeClr val="accent2"/>
                </a:solidFill>
              </a:rPr>
              <a:t>No cyber exclusion!</a:t>
            </a:r>
          </a:p>
        </p:txBody>
      </p:sp>
    </p:spTree>
    <p:extLst>
      <p:ext uri="{BB962C8B-B14F-4D97-AF65-F5344CB8AC3E}">
        <p14:creationId xmlns:p14="http://schemas.microsoft.com/office/powerpoint/2010/main" val="62368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" grpId="0"/>
      <p:bldP spid="4" grpId="0" uiExpand="1" build="p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489585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417102" y="0"/>
            <a:ext cx="4384332" cy="4781550"/>
          </a:xfrm>
          <a:prstGeom prst="rect">
            <a:avLst/>
          </a:prstGeom>
          <a:gradFill>
            <a:gsLst>
              <a:gs pos="15000">
                <a:schemeClr val="bg1"/>
              </a:gs>
              <a:gs pos="100000">
                <a:schemeClr val="bg1">
                  <a:alpha val="70000"/>
                </a:schemeClr>
              </a:gs>
            </a:gsLst>
            <a:lin ang="48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5862" y="133350"/>
            <a:ext cx="4385345" cy="857250"/>
          </a:xfrm>
        </p:spPr>
        <p:txBody>
          <a:bodyPr/>
          <a:lstStyle/>
          <a:p>
            <a:pPr lvl="0"/>
            <a:r>
              <a:rPr lang="en-US" dirty="0"/>
              <a:t>War and Terrorism Exclus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735862" y="1191236"/>
            <a:ext cx="3940728" cy="3590313"/>
          </a:xfrm>
        </p:spPr>
        <p:txBody>
          <a:bodyPr/>
          <a:lstStyle/>
          <a:p>
            <a:r>
              <a:rPr lang="en-US" dirty="0"/>
              <a:t>War Exclusion</a:t>
            </a:r>
          </a:p>
          <a:p>
            <a:r>
              <a:rPr lang="en-US" dirty="0"/>
              <a:t>Terrorism Exclusion</a:t>
            </a:r>
          </a:p>
          <a:p>
            <a:r>
              <a:rPr lang="en-US" dirty="0"/>
              <a:t>Terrorism Coverage Gran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33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7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2" grpId="0"/>
      <p:bldP spid="5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4895249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54113" y="0"/>
            <a:ext cx="4258496" cy="4781550"/>
          </a:xfrm>
          <a:prstGeom prst="rect">
            <a:avLst/>
          </a:prstGeom>
          <a:gradFill>
            <a:gsLst>
              <a:gs pos="15000">
                <a:schemeClr val="bg1"/>
              </a:gs>
              <a:gs pos="100000">
                <a:schemeClr val="bg1">
                  <a:alpha val="70000"/>
                </a:schemeClr>
              </a:gs>
            </a:gsLst>
            <a:lin ang="48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840" y="133350"/>
            <a:ext cx="8686800" cy="857250"/>
          </a:xfrm>
        </p:spPr>
        <p:txBody>
          <a:bodyPr/>
          <a:lstStyle/>
          <a:p>
            <a:r>
              <a:rPr lang="en-US" dirty="0"/>
              <a:t>Risk Mitig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78840" y="1006078"/>
            <a:ext cx="4553125" cy="3775472"/>
          </a:xfrm>
        </p:spPr>
        <p:txBody>
          <a:bodyPr/>
          <a:lstStyle/>
          <a:p>
            <a:pPr marL="0" lvl="0" indent="0">
              <a:spcBef>
                <a:spcPts val="1200"/>
              </a:spcBef>
              <a:buNone/>
            </a:pPr>
            <a:r>
              <a:rPr lang="en-US" sz="2400" b="1" dirty="0"/>
              <a:t>Controlling the exposure</a:t>
            </a:r>
          </a:p>
          <a:p>
            <a:pPr lvl="0">
              <a:spcBef>
                <a:spcPts val="1200"/>
              </a:spcBef>
            </a:pPr>
            <a:r>
              <a:rPr lang="en-US" dirty="0"/>
              <a:t>Best practices</a:t>
            </a:r>
          </a:p>
          <a:p>
            <a:pPr lvl="0">
              <a:spcBef>
                <a:spcPts val="1200"/>
              </a:spcBef>
            </a:pPr>
            <a:r>
              <a:rPr lang="en-US" dirty="0"/>
              <a:t>Loss control</a:t>
            </a:r>
          </a:p>
          <a:p>
            <a:pPr lvl="0">
              <a:spcBef>
                <a:spcPts val="1200"/>
              </a:spcBef>
            </a:pPr>
            <a:r>
              <a:rPr lang="en-US" dirty="0"/>
              <a:t>Interdisciplinary coordination</a:t>
            </a:r>
          </a:p>
          <a:p>
            <a:pPr lvl="0">
              <a:spcBef>
                <a:spcPts val="1200"/>
              </a:spcBef>
            </a:pPr>
            <a:r>
              <a:rPr lang="en-US" dirty="0"/>
              <a:t>Risk transfer</a:t>
            </a:r>
          </a:p>
          <a:p>
            <a:pPr>
              <a:spcBef>
                <a:spcPts val="12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06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75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" grpId="0"/>
      <p:bldP spid="4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4171" y="988488"/>
            <a:ext cx="6262914" cy="165187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395489" y="2939104"/>
            <a:ext cx="4592924" cy="6678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spc="600" dirty="0">
                <a:solidFill>
                  <a:schemeClr val="accent6"/>
                </a:solidFill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41430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GSLeadershipTemplateFinal">
  <a:themeElements>
    <a:clrScheme name="Liberty Mutual Insurance">
      <a:dk1>
        <a:srgbClr val="000000"/>
      </a:dk1>
      <a:lt1>
        <a:srgbClr val="FFFFFF"/>
      </a:lt1>
      <a:dk2>
        <a:srgbClr val="FFFFFF"/>
      </a:dk2>
      <a:lt2>
        <a:srgbClr val="666666"/>
      </a:lt2>
      <a:accent1>
        <a:srgbClr val="648F3F"/>
      </a:accent1>
      <a:accent2>
        <a:srgbClr val="001D61"/>
      </a:accent2>
      <a:accent3>
        <a:srgbClr val="508282"/>
      </a:accent3>
      <a:accent4>
        <a:srgbClr val="405688"/>
      </a:accent4>
      <a:accent5>
        <a:srgbClr val="FF6414"/>
      </a:accent5>
      <a:accent6>
        <a:srgbClr val="EFB200"/>
      </a:accent6>
      <a:hlink>
        <a:srgbClr val="648F3F"/>
      </a:hlink>
      <a:folHlink>
        <a:srgbClr val="405688"/>
      </a:folHlink>
    </a:clrScheme>
    <a:fontScheme name="LMI Default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GSLeadershipTemplateFinal">
  <a:themeElements>
    <a:clrScheme name="Liberty Mutual Insurance">
      <a:dk1>
        <a:srgbClr val="000000"/>
      </a:dk1>
      <a:lt1>
        <a:srgbClr val="FFFFFF"/>
      </a:lt1>
      <a:dk2>
        <a:srgbClr val="FFFFFF"/>
      </a:dk2>
      <a:lt2>
        <a:srgbClr val="666666"/>
      </a:lt2>
      <a:accent1>
        <a:srgbClr val="648F3F"/>
      </a:accent1>
      <a:accent2>
        <a:srgbClr val="001D61"/>
      </a:accent2>
      <a:accent3>
        <a:srgbClr val="508282"/>
      </a:accent3>
      <a:accent4>
        <a:srgbClr val="405688"/>
      </a:accent4>
      <a:accent5>
        <a:srgbClr val="FF6414"/>
      </a:accent5>
      <a:accent6>
        <a:srgbClr val="EFB200"/>
      </a:accent6>
      <a:hlink>
        <a:srgbClr val="648F3F"/>
      </a:hlink>
      <a:folHlink>
        <a:srgbClr val="405688"/>
      </a:folHlink>
    </a:clrScheme>
    <a:fontScheme name="LMI Default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F8AA6901AE4F4A912CE787A7D0974B" ma:contentTypeVersion="1" ma:contentTypeDescription="Create a new document." ma:contentTypeScope="" ma:versionID="6988c9fd728f02102851383909bba469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ef2aa9ed40e72a78c3822fc753b43e8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9DEE461-F03D-4AE9-B577-DC99335D5E08}">
  <ds:schemaRefs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sharepoint/v3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EBC9C9D-FDF2-43C7-A4A9-44F90FEA9B6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E293F6-3F3A-4E50-9D88-238AA76080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8</Words>
  <Application>Microsoft Office PowerPoint</Application>
  <PresentationFormat>On-screen Show (16:9)</PresentationFormat>
  <Paragraphs>66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Rockwell</vt:lpstr>
      <vt:lpstr>Wingdings 2</vt:lpstr>
      <vt:lpstr>GSLeadershipTemplateFinal</vt:lpstr>
      <vt:lpstr>1_GSLeadershipTemplateFinal</vt:lpstr>
      <vt:lpstr>think-cell Slide</vt:lpstr>
      <vt:lpstr>PowerPoint Presentation</vt:lpstr>
      <vt:lpstr>Cyber Landscape</vt:lpstr>
      <vt:lpstr>Cyber Breach Incidents Defined</vt:lpstr>
      <vt:lpstr>Impact of Cyber Breach Incidents</vt:lpstr>
      <vt:lpstr>Cyber Breach Exposures</vt:lpstr>
      <vt:lpstr>Environmental Insurance</vt:lpstr>
      <vt:lpstr>War and Terrorism Exclusions</vt:lpstr>
      <vt:lpstr>Risk Mitig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4-03-06T14:47:35Z</dcterms:created>
  <dcterms:modified xsi:type="dcterms:W3CDTF">2016-10-24T20:4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F8AA6901AE4F4A912CE787A7D0974B</vt:lpwstr>
  </property>
  <property fmtid="{D5CDD505-2E9C-101B-9397-08002B2CF9AE}" pid="3" name="ItemRetentionFormula">
    <vt:lpwstr>&lt;formula id="Microsoft.Office.RecordsManagement.PolicyFeatures.Expiration.Formula.BuiltIn"&gt;&lt;number&gt;5&lt;/number&gt;&lt;property&gt;Modified&lt;/property&gt;&lt;propertyId&gt;28cf69c5-fa48-462a-b5cd-27b6f9d2bd5f&lt;/propertyId&gt;&lt;period&gt;years&lt;/period&gt;&lt;/formula&gt;</vt:lpwstr>
  </property>
  <property fmtid="{D5CDD505-2E9C-101B-9397-08002B2CF9AE}" pid="4" name="_dlc_policyId">
    <vt:lpwstr/>
  </property>
</Properties>
</file>